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sldIdLst>
    <p:sldId id="271" r:id="rId3"/>
    <p:sldId id="257" r:id="rId4"/>
    <p:sldId id="27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8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23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73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313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8:57: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999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423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7564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78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36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9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8821" y="3973363"/>
            <a:ext cx="8253800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cenario 3: Tailgating Heavy Vehicle to Heavy Vehicle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Version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651518"/>
            <a:ext cx="9619861" cy="4553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B623BA-548A-6F45-847C-E26B4349D9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21151" y="638800"/>
            <a:ext cx="6953545" cy="582791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Two Vehicles traveling in the same direction the following logic will apply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Speed of following vehicle is between 15 kph – 34 kph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A 50m Static Zone will be applied between the two vehicles</a:t>
            </a:r>
          </a:p>
          <a:p>
            <a:pPr>
              <a:lnSpc>
                <a:spcPct val="100000"/>
              </a:lnSpc>
            </a:pPr>
            <a:r>
              <a:rPr lang="en-US" sz="1600" dirty="0"/>
              <a:t>If the following distance between vehicles becomes &lt;50m at speeds between 15kph – 34 kph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Front vehicle CAS display will brighten and verbal prompt “Tailgated”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Rear vehicle CAS display will brighten and verbal prompt “Tailgating” 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f the speed of the following vehicle is greater than 35 kph than dynamic CAS would apply tailgating logic above</a:t>
            </a:r>
          </a:p>
          <a:p>
            <a:pPr marL="0" lvl="0" indent="0">
              <a:buNone/>
            </a:pPr>
            <a:endParaRPr lang="en-US" sz="1200" dirty="0">
              <a:solidFill>
                <a:prstClr val="black"/>
              </a:solidFill>
            </a:endParaRPr>
          </a:p>
          <a:p>
            <a:pPr marL="0" lvl="0" indent="0">
              <a:buNone/>
            </a:pPr>
            <a:r>
              <a:rPr lang="en-US" sz="2000" dirty="0">
                <a:solidFill>
                  <a:prstClr val="black"/>
                </a:solidFill>
              </a:rPr>
              <a:t>Notes: </a:t>
            </a:r>
          </a:p>
          <a:p>
            <a:pPr marL="0" lvl="0" indent="0">
              <a:buNone/>
            </a:pPr>
            <a:r>
              <a:rPr lang="en-US" sz="1200" dirty="0">
                <a:solidFill>
                  <a:prstClr val="black"/>
                </a:solidFill>
              </a:rPr>
              <a:t>Not applicable for wheel loaders, dozers, graders, drills, scrapers, cable </a:t>
            </a:r>
            <a:r>
              <a:rPr lang="en-US" sz="1200" dirty="0" err="1">
                <a:solidFill>
                  <a:prstClr val="black"/>
                </a:solidFill>
              </a:rPr>
              <a:t>reelers</a:t>
            </a:r>
            <a:r>
              <a:rPr lang="en-US" sz="1200" dirty="0">
                <a:solidFill>
                  <a:prstClr val="black"/>
                </a:solidFill>
              </a:rPr>
              <a:t>, fuel trucks and tracked loading units.</a:t>
            </a:r>
          </a:p>
          <a:p>
            <a:pPr marL="0" lvl="0" indent="0">
              <a:buNone/>
            </a:pPr>
            <a:r>
              <a:rPr lang="en-US" sz="1200" dirty="0">
                <a:solidFill>
                  <a:prstClr val="black"/>
                </a:solidFill>
              </a:rPr>
              <a:t>Applicable for Light Vehicles (LV), Medium Vehicles (MV) only when they are the Remote Object (RO)</a:t>
            </a:r>
          </a:p>
          <a:p>
            <a:pPr marL="0" lvl="0" indent="0">
              <a:buNone/>
            </a:pPr>
            <a:r>
              <a:rPr lang="en-US" sz="1200" dirty="0">
                <a:solidFill>
                  <a:prstClr val="black"/>
                </a:solidFill>
              </a:rPr>
              <a:t>Reference EMESRT PR5A for further information and context</a:t>
            </a:r>
            <a:r>
              <a:rPr lang="en-US" sz="1200">
                <a:solidFill>
                  <a:prstClr val="black"/>
                </a:solidFill>
              </a:rPr>
              <a:t>. </a:t>
            </a:r>
            <a:endParaRPr lang="en-US" sz="1800" dirty="0">
              <a:solidFill>
                <a:prstClr val="black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20576F7-BBEB-614F-96A6-84321A568EE4}"/>
              </a:ext>
            </a:extLst>
          </p:cNvPr>
          <p:cNvSpPr/>
          <p:nvPr/>
        </p:nvSpPr>
        <p:spPr>
          <a:xfrm>
            <a:off x="646042" y="865240"/>
            <a:ext cx="2093471" cy="5706576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CEFEAA0-FF63-9841-933B-B7AD47FE4777}"/>
              </a:ext>
            </a:extLst>
          </p:cNvPr>
          <p:cNvGrpSpPr/>
          <p:nvPr/>
        </p:nvGrpSpPr>
        <p:grpSpPr>
          <a:xfrm>
            <a:off x="831515" y="367476"/>
            <a:ext cx="659495" cy="2205951"/>
            <a:chOff x="7747266" y="3723621"/>
            <a:chExt cx="608235" cy="2221859"/>
          </a:xfrm>
        </p:grpSpPr>
        <p:sp>
          <p:nvSpPr>
            <p:cNvPr id="6" name="Isosceles Triangle 90">
              <a:extLst>
                <a:ext uri="{FF2B5EF4-FFF2-40B4-BE49-F238E27FC236}">
                  <a16:creationId xmlns:a16="http://schemas.microsoft.com/office/drawing/2014/main" id="{CD5FB618-EB13-C04C-8A7D-768BBA8D0BD5}"/>
                </a:ext>
              </a:extLst>
            </p:cNvPr>
            <p:cNvSpPr/>
            <p:nvPr/>
          </p:nvSpPr>
          <p:spPr>
            <a:xfrm flipV="1">
              <a:off x="7835383" y="3723621"/>
              <a:ext cx="378000" cy="1397101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Isosceles Triangle 109">
              <a:extLst>
                <a:ext uri="{FF2B5EF4-FFF2-40B4-BE49-F238E27FC236}">
                  <a16:creationId xmlns:a16="http://schemas.microsoft.com/office/drawing/2014/main" id="{8B4FCD5C-602C-D54C-AC7E-61B6FDAB0CAF}"/>
                </a:ext>
              </a:extLst>
            </p:cNvPr>
            <p:cNvSpPr/>
            <p:nvPr/>
          </p:nvSpPr>
          <p:spPr>
            <a:xfrm flipV="1">
              <a:off x="7868909" y="4034811"/>
              <a:ext cx="324000" cy="1085911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8" name="Picture 43">
              <a:extLst>
                <a:ext uri="{FF2B5EF4-FFF2-40B4-BE49-F238E27FC236}">
                  <a16:creationId xmlns:a16="http://schemas.microsoft.com/office/drawing/2014/main" id="{4E17CCC8-E7AE-FC4A-B58E-669B00BFE9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22F9747-E51B-7443-8B68-B865CD5E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304" y="43677"/>
            <a:ext cx="4864296" cy="647598"/>
          </a:xfrm>
        </p:spPr>
        <p:txBody>
          <a:bodyPr>
            <a:normAutofit fontScale="90000"/>
          </a:bodyPr>
          <a:lstStyle/>
          <a:p>
            <a:r>
              <a:rPr lang="en-US" dirty="0"/>
              <a:t>Tailgating – HV to HV	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08FD99D-9085-484A-A190-C1F00722845D}"/>
              </a:ext>
            </a:extLst>
          </p:cNvPr>
          <p:cNvGrpSpPr/>
          <p:nvPr/>
        </p:nvGrpSpPr>
        <p:grpSpPr>
          <a:xfrm>
            <a:off x="831515" y="5992759"/>
            <a:ext cx="659495" cy="2825101"/>
            <a:chOff x="7747266" y="3100005"/>
            <a:chExt cx="608235" cy="2845475"/>
          </a:xfrm>
        </p:grpSpPr>
        <p:sp>
          <p:nvSpPr>
            <p:cNvPr id="10" name="Isosceles Triangle 90">
              <a:extLst>
                <a:ext uri="{FF2B5EF4-FFF2-40B4-BE49-F238E27FC236}">
                  <a16:creationId xmlns:a16="http://schemas.microsoft.com/office/drawing/2014/main" id="{79C3E362-1A32-BF47-ADB3-08979CE3C621}"/>
                </a:ext>
              </a:extLst>
            </p:cNvPr>
            <p:cNvSpPr/>
            <p:nvPr/>
          </p:nvSpPr>
          <p:spPr>
            <a:xfrm flipV="1">
              <a:off x="7835383" y="3100005"/>
              <a:ext cx="378000" cy="2020716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Isosceles Triangle 109">
              <a:extLst>
                <a:ext uri="{FF2B5EF4-FFF2-40B4-BE49-F238E27FC236}">
                  <a16:creationId xmlns:a16="http://schemas.microsoft.com/office/drawing/2014/main" id="{725CFE1B-DCA6-C649-ABDD-24BD2A49D75D}"/>
                </a:ext>
              </a:extLst>
            </p:cNvPr>
            <p:cNvSpPr/>
            <p:nvPr/>
          </p:nvSpPr>
          <p:spPr>
            <a:xfrm flipV="1">
              <a:off x="7868909" y="3550102"/>
              <a:ext cx="324000" cy="1570622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Picture 43">
              <a:extLst>
                <a:ext uri="{FF2B5EF4-FFF2-40B4-BE49-F238E27FC236}">
                  <a16:creationId xmlns:a16="http://schemas.microsoft.com/office/drawing/2014/main" id="{B5D83D34-3BC6-CF4B-BE3D-1705AB42C5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622347B8-7912-0245-BA7C-16BC28D98688}"/>
              </a:ext>
            </a:extLst>
          </p:cNvPr>
          <p:cNvSpPr/>
          <p:nvPr/>
        </p:nvSpPr>
        <p:spPr>
          <a:xfrm>
            <a:off x="842440" y="2614876"/>
            <a:ext cx="630218" cy="2824273"/>
          </a:xfrm>
          <a:prstGeom prst="roundRect">
            <a:avLst/>
          </a:prstGeom>
          <a:solidFill>
            <a:schemeClr val="accent2">
              <a:lumMod val="40000"/>
              <a:lumOff val="60000"/>
              <a:alpha val="42000"/>
            </a:schemeClr>
          </a:solidFill>
          <a:ln w="44450" cmpd="sng">
            <a:solidFill>
              <a:schemeClr val="tx1">
                <a:lumMod val="85000"/>
                <a:lumOff val="15000"/>
              </a:schemeClr>
            </a:solidFill>
            <a:prstDash val="sys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630218"/>
                      <a:gd name="connsiteY0" fmla="*/ 105038 h 2824273"/>
                      <a:gd name="connsiteX1" fmla="*/ 105038 w 630218"/>
                      <a:gd name="connsiteY1" fmla="*/ 0 h 2824273"/>
                      <a:gd name="connsiteX2" fmla="*/ 525180 w 630218"/>
                      <a:gd name="connsiteY2" fmla="*/ 0 h 2824273"/>
                      <a:gd name="connsiteX3" fmla="*/ 630218 w 630218"/>
                      <a:gd name="connsiteY3" fmla="*/ 105038 h 2824273"/>
                      <a:gd name="connsiteX4" fmla="*/ 630218 w 630218"/>
                      <a:gd name="connsiteY4" fmla="*/ 575593 h 2824273"/>
                      <a:gd name="connsiteX5" fmla="*/ 630218 w 630218"/>
                      <a:gd name="connsiteY5" fmla="*/ 1020007 h 2824273"/>
                      <a:gd name="connsiteX6" fmla="*/ 630218 w 630218"/>
                      <a:gd name="connsiteY6" fmla="*/ 1464420 h 2824273"/>
                      <a:gd name="connsiteX7" fmla="*/ 630218 w 630218"/>
                      <a:gd name="connsiteY7" fmla="*/ 1987260 h 2824273"/>
                      <a:gd name="connsiteX8" fmla="*/ 630218 w 630218"/>
                      <a:gd name="connsiteY8" fmla="*/ 2719235 h 2824273"/>
                      <a:gd name="connsiteX9" fmla="*/ 525180 w 630218"/>
                      <a:gd name="connsiteY9" fmla="*/ 2824273 h 2824273"/>
                      <a:gd name="connsiteX10" fmla="*/ 105038 w 630218"/>
                      <a:gd name="connsiteY10" fmla="*/ 2824273 h 2824273"/>
                      <a:gd name="connsiteX11" fmla="*/ 0 w 630218"/>
                      <a:gd name="connsiteY11" fmla="*/ 2719235 h 2824273"/>
                      <a:gd name="connsiteX12" fmla="*/ 0 w 630218"/>
                      <a:gd name="connsiteY12" fmla="*/ 2170254 h 2824273"/>
                      <a:gd name="connsiteX13" fmla="*/ 0 w 630218"/>
                      <a:gd name="connsiteY13" fmla="*/ 1725840 h 2824273"/>
                      <a:gd name="connsiteX14" fmla="*/ 0 w 630218"/>
                      <a:gd name="connsiteY14" fmla="*/ 1255285 h 2824273"/>
                      <a:gd name="connsiteX15" fmla="*/ 0 w 630218"/>
                      <a:gd name="connsiteY15" fmla="*/ 706303 h 2824273"/>
                      <a:gd name="connsiteX16" fmla="*/ 0 w 630218"/>
                      <a:gd name="connsiteY16" fmla="*/ 105038 h 2824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630218" h="2824273" fill="none" extrusionOk="0">
                        <a:moveTo>
                          <a:pt x="0" y="105038"/>
                        </a:moveTo>
                        <a:cubicBezTo>
                          <a:pt x="-5806" y="57409"/>
                          <a:pt x="55246" y="6108"/>
                          <a:pt x="105038" y="0"/>
                        </a:cubicBezTo>
                        <a:cubicBezTo>
                          <a:pt x="290735" y="-32087"/>
                          <a:pt x="413426" y="30529"/>
                          <a:pt x="525180" y="0"/>
                        </a:cubicBezTo>
                        <a:cubicBezTo>
                          <a:pt x="596006" y="-2712"/>
                          <a:pt x="631003" y="54479"/>
                          <a:pt x="630218" y="105038"/>
                        </a:cubicBezTo>
                        <a:cubicBezTo>
                          <a:pt x="631696" y="214040"/>
                          <a:pt x="616579" y="426082"/>
                          <a:pt x="630218" y="575593"/>
                        </a:cubicBezTo>
                        <a:cubicBezTo>
                          <a:pt x="643857" y="725104"/>
                          <a:pt x="606180" y="923559"/>
                          <a:pt x="630218" y="1020007"/>
                        </a:cubicBezTo>
                        <a:cubicBezTo>
                          <a:pt x="654256" y="1116455"/>
                          <a:pt x="625834" y="1304906"/>
                          <a:pt x="630218" y="1464420"/>
                        </a:cubicBezTo>
                        <a:cubicBezTo>
                          <a:pt x="634602" y="1623934"/>
                          <a:pt x="606197" y="1780128"/>
                          <a:pt x="630218" y="1987260"/>
                        </a:cubicBezTo>
                        <a:cubicBezTo>
                          <a:pt x="654239" y="2194392"/>
                          <a:pt x="610165" y="2390596"/>
                          <a:pt x="630218" y="2719235"/>
                        </a:cubicBezTo>
                        <a:cubicBezTo>
                          <a:pt x="629476" y="2761846"/>
                          <a:pt x="595634" y="2832112"/>
                          <a:pt x="525180" y="2824273"/>
                        </a:cubicBezTo>
                        <a:cubicBezTo>
                          <a:pt x="378870" y="2864139"/>
                          <a:pt x="207579" y="2777640"/>
                          <a:pt x="105038" y="2824273"/>
                        </a:cubicBezTo>
                        <a:cubicBezTo>
                          <a:pt x="41326" y="2830044"/>
                          <a:pt x="-3546" y="2784836"/>
                          <a:pt x="0" y="2719235"/>
                        </a:cubicBezTo>
                        <a:cubicBezTo>
                          <a:pt x="-5506" y="2545444"/>
                          <a:pt x="65650" y="2306078"/>
                          <a:pt x="0" y="2170254"/>
                        </a:cubicBezTo>
                        <a:cubicBezTo>
                          <a:pt x="-65650" y="2034430"/>
                          <a:pt x="21523" y="1843999"/>
                          <a:pt x="0" y="1725840"/>
                        </a:cubicBezTo>
                        <a:cubicBezTo>
                          <a:pt x="-21523" y="1607681"/>
                          <a:pt x="2929" y="1450351"/>
                          <a:pt x="0" y="1255285"/>
                        </a:cubicBezTo>
                        <a:cubicBezTo>
                          <a:pt x="-2929" y="1060219"/>
                          <a:pt x="5730" y="941251"/>
                          <a:pt x="0" y="706303"/>
                        </a:cubicBezTo>
                        <a:cubicBezTo>
                          <a:pt x="-5730" y="471355"/>
                          <a:pt x="2082" y="289948"/>
                          <a:pt x="0" y="105038"/>
                        </a:cubicBezTo>
                        <a:close/>
                      </a:path>
                      <a:path w="630218" h="2824273" stroke="0" extrusionOk="0">
                        <a:moveTo>
                          <a:pt x="0" y="105038"/>
                        </a:moveTo>
                        <a:cubicBezTo>
                          <a:pt x="-7434" y="42442"/>
                          <a:pt x="43062" y="1488"/>
                          <a:pt x="105038" y="0"/>
                        </a:cubicBezTo>
                        <a:cubicBezTo>
                          <a:pt x="196715" y="-13493"/>
                          <a:pt x="318916" y="24576"/>
                          <a:pt x="525180" y="0"/>
                        </a:cubicBezTo>
                        <a:cubicBezTo>
                          <a:pt x="577864" y="-4052"/>
                          <a:pt x="628681" y="50182"/>
                          <a:pt x="630218" y="105038"/>
                        </a:cubicBezTo>
                        <a:cubicBezTo>
                          <a:pt x="670968" y="281440"/>
                          <a:pt x="591356" y="400231"/>
                          <a:pt x="630218" y="627877"/>
                        </a:cubicBezTo>
                        <a:cubicBezTo>
                          <a:pt x="669080" y="855523"/>
                          <a:pt x="606961" y="973099"/>
                          <a:pt x="630218" y="1124575"/>
                        </a:cubicBezTo>
                        <a:cubicBezTo>
                          <a:pt x="653475" y="1276051"/>
                          <a:pt x="570252" y="1458681"/>
                          <a:pt x="630218" y="1699698"/>
                        </a:cubicBezTo>
                        <a:cubicBezTo>
                          <a:pt x="690184" y="1940715"/>
                          <a:pt x="574145" y="1944908"/>
                          <a:pt x="630218" y="2170254"/>
                        </a:cubicBezTo>
                        <a:cubicBezTo>
                          <a:pt x="686291" y="2395600"/>
                          <a:pt x="588246" y="2451153"/>
                          <a:pt x="630218" y="2719235"/>
                        </a:cubicBezTo>
                        <a:cubicBezTo>
                          <a:pt x="638577" y="2779256"/>
                          <a:pt x="578101" y="2823450"/>
                          <a:pt x="525180" y="2824273"/>
                        </a:cubicBezTo>
                        <a:cubicBezTo>
                          <a:pt x="322867" y="2857464"/>
                          <a:pt x="301134" y="2804116"/>
                          <a:pt x="105038" y="2824273"/>
                        </a:cubicBezTo>
                        <a:cubicBezTo>
                          <a:pt x="49174" y="2822151"/>
                          <a:pt x="2275" y="2775779"/>
                          <a:pt x="0" y="2719235"/>
                        </a:cubicBezTo>
                        <a:cubicBezTo>
                          <a:pt x="-51009" y="2598677"/>
                          <a:pt x="60238" y="2334663"/>
                          <a:pt x="0" y="2196396"/>
                        </a:cubicBezTo>
                        <a:cubicBezTo>
                          <a:pt x="-60238" y="2058129"/>
                          <a:pt x="39193" y="1835910"/>
                          <a:pt x="0" y="1725840"/>
                        </a:cubicBezTo>
                        <a:cubicBezTo>
                          <a:pt x="-39193" y="1615770"/>
                          <a:pt x="50648" y="1325035"/>
                          <a:pt x="0" y="1203001"/>
                        </a:cubicBezTo>
                        <a:cubicBezTo>
                          <a:pt x="-50648" y="1080967"/>
                          <a:pt x="15861" y="894212"/>
                          <a:pt x="0" y="627877"/>
                        </a:cubicBezTo>
                        <a:cubicBezTo>
                          <a:pt x="-15861" y="361542"/>
                          <a:pt x="27738" y="247090"/>
                          <a:pt x="0" y="105038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B25AB10-B795-A346-A04F-C67B10CDF252}"/>
              </a:ext>
            </a:extLst>
          </p:cNvPr>
          <p:cNvCxnSpPr>
            <a:cxnSpLocks/>
          </p:cNvCxnSpPr>
          <p:nvPr/>
        </p:nvCxnSpPr>
        <p:spPr>
          <a:xfrm>
            <a:off x="738778" y="2564267"/>
            <a:ext cx="0" cy="2928011"/>
          </a:xfrm>
          <a:prstGeom prst="straightConnector1">
            <a:avLst/>
          </a:prstGeom>
          <a:ln w="3492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6513711-A884-0F41-B010-7660D8EE372D}"/>
              </a:ext>
            </a:extLst>
          </p:cNvPr>
          <p:cNvSpPr txBox="1"/>
          <p:nvPr/>
        </p:nvSpPr>
        <p:spPr>
          <a:xfrm>
            <a:off x="127796" y="3940853"/>
            <a:ext cx="655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m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0724B38-5049-704E-909A-A89B41449DBB}"/>
              </a:ext>
            </a:extLst>
          </p:cNvPr>
          <p:cNvGrpSpPr/>
          <p:nvPr/>
        </p:nvGrpSpPr>
        <p:grpSpPr>
          <a:xfrm>
            <a:off x="1389251" y="1904469"/>
            <a:ext cx="1627387" cy="524000"/>
            <a:chOff x="536713" y="5512860"/>
            <a:chExt cx="1627387" cy="52400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4AAB341-BBE9-6544-8793-31A6BACA6DBF}"/>
                </a:ext>
              </a:extLst>
            </p:cNvPr>
            <p:cNvSpPr txBox="1"/>
            <p:nvPr/>
          </p:nvSpPr>
          <p:spPr>
            <a:xfrm>
              <a:off x="536713" y="5759861"/>
              <a:ext cx="16273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TAILGATED”</a:t>
              </a:r>
            </a:p>
          </p:txBody>
        </p:sp>
        <p:pic>
          <p:nvPicPr>
            <p:cNvPr id="19" name="Graphic 18" descr="Wi-Fi">
              <a:extLst>
                <a:ext uri="{FF2B5EF4-FFF2-40B4-BE49-F238E27FC236}">
                  <a16:creationId xmlns:a16="http://schemas.microsoft.com/office/drawing/2014/main" id="{5468FFE3-148A-C84A-A0E4-6B9919A87F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0278001">
              <a:off x="1024205" y="5512860"/>
              <a:ext cx="380999" cy="380999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A411C9E-8B21-8145-B529-0FD88C2BB06D}"/>
              </a:ext>
            </a:extLst>
          </p:cNvPr>
          <p:cNvGrpSpPr/>
          <p:nvPr/>
        </p:nvGrpSpPr>
        <p:grpSpPr>
          <a:xfrm>
            <a:off x="1560057" y="4638023"/>
            <a:ext cx="1627387" cy="524000"/>
            <a:chOff x="536713" y="5512860"/>
            <a:chExt cx="1627387" cy="5240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4D7CCAE-661E-1345-897E-1387DFFBCF5C}"/>
                </a:ext>
              </a:extLst>
            </p:cNvPr>
            <p:cNvSpPr txBox="1"/>
            <p:nvPr/>
          </p:nvSpPr>
          <p:spPr>
            <a:xfrm>
              <a:off x="536713" y="5759861"/>
              <a:ext cx="16273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TAILGATING”</a:t>
              </a:r>
            </a:p>
          </p:txBody>
        </p:sp>
        <p:pic>
          <p:nvPicPr>
            <p:cNvPr id="22" name="Graphic 21" descr="Wi-Fi">
              <a:extLst>
                <a:ext uri="{FF2B5EF4-FFF2-40B4-BE49-F238E27FC236}">
                  <a16:creationId xmlns:a16="http://schemas.microsoft.com/office/drawing/2014/main" id="{21665F15-7A2B-1E4C-BB3B-F6C743D72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0278001">
              <a:off x="1024205" y="5512860"/>
              <a:ext cx="380999" cy="380999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05E1D22-47DD-4147-90EB-FF7CDBB67C92}"/>
              </a:ext>
            </a:extLst>
          </p:cNvPr>
          <p:cNvGrpSpPr/>
          <p:nvPr/>
        </p:nvGrpSpPr>
        <p:grpSpPr>
          <a:xfrm>
            <a:off x="838291" y="6911990"/>
            <a:ext cx="659495" cy="4101737"/>
            <a:chOff x="7747266" y="1814161"/>
            <a:chExt cx="608235" cy="4131318"/>
          </a:xfrm>
        </p:grpSpPr>
        <p:sp>
          <p:nvSpPr>
            <p:cNvPr id="24" name="Isosceles Triangle 90">
              <a:extLst>
                <a:ext uri="{FF2B5EF4-FFF2-40B4-BE49-F238E27FC236}">
                  <a16:creationId xmlns:a16="http://schemas.microsoft.com/office/drawing/2014/main" id="{0F904243-F1C4-5B46-B68A-48336F3753C5}"/>
                </a:ext>
              </a:extLst>
            </p:cNvPr>
            <p:cNvSpPr/>
            <p:nvPr/>
          </p:nvSpPr>
          <p:spPr>
            <a:xfrm flipV="1">
              <a:off x="7835383" y="1814161"/>
              <a:ext cx="378000" cy="3306559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Isosceles Triangle 109">
              <a:extLst>
                <a:ext uri="{FF2B5EF4-FFF2-40B4-BE49-F238E27FC236}">
                  <a16:creationId xmlns:a16="http://schemas.microsoft.com/office/drawing/2014/main" id="{22503E52-F054-FA44-BD34-5636849FBD3B}"/>
                </a:ext>
              </a:extLst>
            </p:cNvPr>
            <p:cNvSpPr/>
            <p:nvPr/>
          </p:nvSpPr>
          <p:spPr>
            <a:xfrm flipV="1">
              <a:off x="7868909" y="3550102"/>
              <a:ext cx="324000" cy="1570622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6" name="Picture 43">
              <a:extLst>
                <a:ext uri="{FF2B5EF4-FFF2-40B4-BE49-F238E27FC236}">
                  <a16:creationId xmlns:a16="http://schemas.microsoft.com/office/drawing/2014/main" id="{E2C9E7D4-15A6-D147-B5DA-CD9F13E4E2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0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5" name="Slide Number Placeholder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D1297-FA94-7D43-9275-3BBF794353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4387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0.14213 L 0.00065 -0.3338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379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65 -0.3338 L -2.29167E-6 -0.4118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-398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2" presetClass="entr" presetSubtype="4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26" presetClass="emph" presetSubtype="0" repeatCount="2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10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1" dur="50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6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1000" tmFilter="0, 0; .2, .5; .8, .5; 1, 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3" dur="500" autoRev="1" fill="hold"/>
                                        <p:tgtEl>
                                          <p:spTgt spid="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8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8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8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9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442 0.05672 L -0.00442 -0.63912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47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</TotalTime>
  <Words>297</Words>
  <Application>Microsoft Macintosh PowerPoint</Application>
  <PresentationFormat>Widescreen</PresentationFormat>
  <Paragraphs>29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1_Office Theme</vt:lpstr>
      <vt:lpstr>2_Office Theme</vt:lpstr>
      <vt:lpstr>PowerPoint Presentation</vt:lpstr>
      <vt:lpstr>Adapting and Using EMESRT Story Boards</vt:lpstr>
      <vt:lpstr>Tailgating – HV to HV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12</cp:revision>
  <dcterms:created xsi:type="dcterms:W3CDTF">2020-10-07T22:58:51Z</dcterms:created>
  <dcterms:modified xsi:type="dcterms:W3CDTF">2024-05-09T22:57:28Z</dcterms:modified>
</cp:coreProperties>
</file>